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3/12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0002_f_Two_stage_gear</a:t>
            </a:r>
            <a:r>
              <a:rPr lang="de-DE" dirty="0"/>
              <a:t>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2_Two_stage_gea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dirty="0"/>
              <a:t>This function calculates the total transmission ratio of a gearbox with two gear stages.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C10ADFEE-BEBA-410F-98FD-DA618D5CC3B5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26137" y="2913856"/>
            <a:ext cx="2752725" cy="1400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2_Two_stage_gea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ar ratio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A4-Papier (210 x 297 mm)</PresentationFormat>
  <Paragraphs>6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2_Two_stage_gear</vt:lpstr>
      <vt:lpstr>M0002_Two_stage_gea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32</cp:revision>
  <dcterms:created xsi:type="dcterms:W3CDTF">2020-02-28T15:45:41Z</dcterms:created>
  <dcterms:modified xsi:type="dcterms:W3CDTF">2020-12-23T08:22:57Z</dcterms:modified>
</cp:coreProperties>
</file>